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9"/>
  </p:notesMasterIdLst>
  <p:handoutMasterIdLst>
    <p:handoutMasterId r:id="rId50"/>
  </p:handoutMasterIdLst>
  <p:sldIdLst>
    <p:sldId id="275" r:id="rId2"/>
    <p:sldId id="406" r:id="rId3"/>
    <p:sldId id="287" r:id="rId4"/>
    <p:sldId id="309" r:id="rId5"/>
    <p:sldId id="313" r:id="rId6"/>
    <p:sldId id="315" r:id="rId7"/>
    <p:sldId id="288" r:id="rId8"/>
    <p:sldId id="317" r:id="rId9"/>
    <p:sldId id="314" r:id="rId10"/>
    <p:sldId id="310" r:id="rId11"/>
    <p:sldId id="291" r:id="rId12"/>
    <p:sldId id="311" r:id="rId13"/>
    <p:sldId id="282" r:id="rId14"/>
    <p:sldId id="283" r:id="rId15"/>
    <p:sldId id="401" r:id="rId16"/>
    <p:sldId id="402" r:id="rId17"/>
    <p:sldId id="324" r:id="rId18"/>
    <p:sldId id="284" r:id="rId19"/>
    <p:sldId id="285" r:id="rId20"/>
    <p:sldId id="286" r:id="rId21"/>
    <p:sldId id="294" r:id="rId22"/>
    <p:sldId id="319" r:id="rId23"/>
    <p:sldId id="321" r:id="rId24"/>
    <p:sldId id="396" r:id="rId25"/>
    <p:sldId id="296" r:id="rId26"/>
    <p:sldId id="302" r:id="rId27"/>
    <p:sldId id="325" r:id="rId28"/>
    <p:sldId id="405" r:id="rId29"/>
    <p:sldId id="328" r:id="rId30"/>
    <p:sldId id="329" r:id="rId31"/>
    <p:sldId id="330" r:id="rId32"/>
    <p:sldId id="326" r:id="rId33"/>
    <p:sldId id="332" r:id="rId34"/>
    <p:sldId id="323" r:id="rId35"/>
    <p:sldId id="407" r:id="rId36"/>
    <p:sldId id="335" r:id="rId37"/>
    <p:sldId id="337" r:id="rId38"/>
    <p:sldId id="342" r:id="rId39"/>
    <p:sldId id="338" r:id="rId40"/>
    <p:sldId id="340" r:id="rId41"/>
    <p:sldId id="336" r:id="rId42"/>
    <p:sldId id="408" r:id="rId43"/>
    <p:sldId id="344" r:id="rId44"/>
    <p:sldId id="345" r:id="rId45"/>
    <p:sldId id="346" r:id="rId46"/>
    <p:sldId id="350" r:id="rId47"/>
    <p:sldId id="348" r:id="rId4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85499" autoAdjust="0"/>
  </p:normalViewPr>
  <p:slideViewPr>
    <p:cSldViewPr snapToGrid="0">
      <p:cViewPr>
        <p:scale>
          <a:sx n="90" d="100"/>
          <a:sy n="90" d="100"/>
        </p:scale>
        <p:origin x="756" y="-13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886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89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3082B1-427E-41DB-ABE5-DAB9BFFC394E}" type="datetimeFigureOut">
              <a:rPr lang="en-US" smtClean="0"/>
              <a:t>10/1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209448-722B-41B2-BE86-BF6863A1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30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33ABA6-B72D-4ED4-A6E7-13A0DAE65F1A}" type="datetimeFigureOut">
              <a:rPr lang="en-US" smtClean="0"/>
              <a:t>10/1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C303B9-2C3E-4EA0-A819-58B20A5A84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082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360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 smtClean="0"/>
              <a:t>Level - about 1,800,000 passengers per month</a:t>
            </a:r>
          </a:p>
          <a:p>
            <a:pPr>
              <a:buFont typeface="Wingdings 2" pitchFamily="18" charset="2"/>
              <a:buNone/>
            </a:pPr>
            <a:endParaRPr lang="en-US" b="1" dirty="0" smtClean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Appears to have U-shaped tren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14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ther forecasts</a:t>
            </a:r>
            <a:r>
              <a:rPr lang="en-US" baseline="0" dirty="0" smtClean="0"/>
              <a:t> in busin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ly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duct life cy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ll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…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72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evel?</a:t>
            </a:r>
          </a:p>
          <a:p>
            <a:r>
              <a:rPr lang="en-US" dirty="0" smtClean="0"/>
              <a:t>Trend?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Pattern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4081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AF40-8E9D-4388-A598-B39FF32BD9C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9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ditive – Every quarter</a:t>
            </a:r>
            <a:r>
              <a:rPr lang="en-US" baseline="0" dirty="0" smtClean="0"/>
              <a:t> the business grows by $10M</a:t>
            </a:r>
          </a:p>
          <a:p>
            <a:r>
              <a:rPr lang="en-US" baseline="0" dirty="0" smtClean="0"/>
              <a:t>Multiplicative – Every quarter the business grows by 10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117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mplitude chang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303B9-2C3E-4EA0-A819-58B20A5A846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45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B90E-0779-4C36-915C-6F05FCD89456}" type="datetime1">
              <a:rPr lang="en-US" smtClean="0"/>
              <a:t>10/16/2019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29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104642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80030"/>
            <a:ext cx="7886700" cy="512064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29D-D431-42FE-B7B6-AAE4454C77D3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00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209821"/>
            <a:ext cx="1971675" cy="4967141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223889"/>
            <a:ext cx="5800725" cy="4953074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D8A1E-EA8F-46C1-B891-AE0C00D9C314}" type="datetime1">
              <a:rPr lang="en-US" smtClean="0"/>
              <a:t>10/16/20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76533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11347"/>
            <a:ext cx="7886700" cy="51206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34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16/2019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607285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92583"/>
            <a:ext cx="3886200" cy="4969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E256C-8D9A-4404-B47D-41A1AE514425}" type="datetime1">
              <a:rPr lang="en-US" smtClean="0"/>
              <a:t>10/16/2019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481223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32519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956431"/>
            <a:ext cx="3868340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132519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956431"/>
            <a:ext cx="3887391" cy="4205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B2154-9035-4012-8189-BAAB61C5A5EE}" type="datetime1">
              <a:rPr lang="en-US" smtClean="0"/>
              <a:t>10/1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wartler CSCI S-96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96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361983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6E382-4F61-4E24-BE1A-377EC83D0E3A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252303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83212"/>
            <a:ext cx="4629150" cy="507843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097279"/>
            <a:ext cx="2949178" cy="5064369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EED6-FC16-45B9-B8C4-2BC5DBA88325}" type="datetime1">
              <a:rPr lang="en-US" smtClean="0"/>
              <a:t>10/16/2019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035383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139483"/>
            <a:ext cx="4629150" cy="5022166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181685"/>
            <a:ext cx="2949178" cy="49799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9512B-4F1D-43D7-8819-2F53FEF69650}" type="datetime1">
              <a:rPr lang="en-US" smtClean="0"/>
              <a:t>10/16/2019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 descr="Image result for harvard logo transpar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48400"/>
            <a:ext cx="1828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S-96</a:t>
            </a:r>
          </a:p>
        </p:txBody>
      </p:sp>
    </p:spTree>
    <p:extLst>
      <p:ext uri="{BB962C8B-B14F-4D97-AF65-F5344CB8AC3E}">
        <p14:creationId xmlns:p14="http://schemas.microsoft.com/office/powerpoint/2010/main" val="315979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08176"/>
            <a:ext cx="7886700" cy="512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37B94-E2BF-44DC-ADC5-B05FC9934E9D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90FF7-652B-4475-AEAB-8B1A5D23AE0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88388" y="1026944"/>
            <a:ext cx="8567225" cy="0"/>
          </a:xfrm>
          <a:prstGeom prst="line">
            <a:avLst/>
          </a:prstGeom>
          <a:ln>
            <a:solidFill>
              <a:srgbClr val="A51C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789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gi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23FF278-3A5B-44F8-9DCA-4293CA7C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BA52E92-473C-4CB8-998E-1DCAAAC107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1BFFD1B-D36D-40D0-A49A-3132AB75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61074-1C18-4AE7-957D-F18524378C85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C8E71AB-0020-4F74-93A4-9D0EA57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05FF79E-1D78-423E-BA08-2C16C5541A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</a:t>
            </a:r>
            <a:r>
              <a:rPr lang="en-US" dirty="0" smtClean="0"/>
              <a:t>CSCI 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149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42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Level</a:t>
            </a:r>
            <a:r>
              <a:rPr lang="en-US" dirty="0"/>
              <a:t>?</a:t>
            </a:r>
          </a:p>
          <a:p>
            <a:r>
              <a:rPr lang="en-US" dirty="0"/>
              <a:t>Trend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9079329-3AED-4937-A9A0-10ED9AC59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07"/>
          <a:stretch/>
        </p:blipFill>
        <p:spPr>
          <a:xfrm>
            <a:off x="434024" y="1284295"/>
            <a:ext cx="5189851" cy="474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418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Actu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6029782" y="2743200"/>
            <a:ext cx="223266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do we observe?</a:t>
            </a:r>
          </a:p>
          <a:p>
            <a:r>
              <a:rPr lang="en-US" dirty="0"/>
              <a:t>Level?</a:t>
            </a:r>
          </a:p>
          <a:p>
            <a:r>
              <a:rPr lang="en-US" b="1" u="sng" dirty="0">
                <a:solidFill>
                  <a:schemeClr val="accent6"/>
                </a:solidFill>
              </a:rPr>
              <a:t>Trend</a:t>
            </a:r>
            <a:r>
              <a:rPr lang="en-US" dirty="0"/>
              <a:t>?</a:t>
            </a:r>
          </a:p>
          <a:p>
            <a:r>
              <a:rPr lang="en-US" dirty="0"/>
              <a:t>Seasonality?</a:t>
            </a:r>
          </a:p>
          <a:p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199" y="1439500"/>
            <a:ext cx="4955629" cy="458161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AE6B1A81-D206-4C60-A13A-401B148C6F40}"/>
              </a:ext>
            </a:extLst>
          </p:cNvPr>
          <p:cNvCxnSpPr/>
          <p:nvPr/>
        </p:nvCxnSpPr>
        <p:spPr>
          <a:xfrm>
            <a:off x="1430448" y="2924269"/>
            <a:ext cx="1702051" cy="1484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="" xmlns:a16="http://schemas.microsoft.com/office/drawing/2014/main" id="{5324CA85-364D-4FE3-A5DF-7C92F07D1214}"/>
              </a:ext>
            </a:extLst>
          </p:cNvPr>
          <p:cNvCxnSpPr/>
          <p:nvPr/>
        </p:nvCxnSpPr>
        <p:spPr>
          <a:xfrm flipV="1">
            <a:off x="3268301" y="2534970"/>
            <a:ext cx="2190939" cy="17563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0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oom to 3 years (1997-1999)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7772400" cy="40386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 dirty="0"/>
              <a:t>Seasonality* appears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Each year traffic peaks in summer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Noise: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Departure from the general level that is neither trend nor </a:t>
            </a:r>
            <a:r>
              <a:rPr lang="en-US" dirty="0" smtClean="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Put another way, if you add the seasonal, trend and level values, the difference is the “noise” 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* </a:t>
            </a:r>
            <a:r>
              <a:rPr lang="en-US" sz="2000" dirty="0"/>
              <a:t>Don’t confuse the time series term </a:t>
            </a:r>
            <a:r>
              <a:rPr lang="en-US" dirty="0"/>
              <a:t>“</a:t>
            </a:r>
            <a:r>
              <a:rPr lang="en-US" sz="2000" dirty="0"/>
              <a:t>season,” which is the period over which a cyclical pattern repeats (e.g. a year), with the standard English seasons of the year (fall, winter, etc.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13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103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3" name="Oval 2">
              <a:extLst>
                <a:ext uri="{FF2B5EF4-FFF2-40B4-BE49-F238E27FC236}">
                  <a16:creationId xmlns="" xmlns:a16="http://schemas.microsoft.com/office/drawing/2014/main" id="{4D11CEEC-FA26-4A6F-8495-0972C5118DCA}"/>
                </a:ext>
              </a:extLst>
            </p:cNvPr>
            <p:cNvSpPr/>
            <p:nvPr/>
          </p:nvSpPr>
          <p:spPr>
            <a:xfrm>
              <a:off x="453793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>
              <a:extLst>
                <a:ext uri="{FF2B5EF4-FFF2-40B4-BE49-F238E27FC236}">
                  <a16:creationId xmlns="" xmlns:a16="http://schemas.microsoft.com/office/drawing/2014/main" id="{2ACB0B4D-22F3-4F5C-8250-3471DC522CAA}"/>
                </a:ext>
              </a:extLst>
            </p:cNvPr>
            <p:cNvSpPr/>
            <p:nvPr/>
          </p:nvSpPr>
          <p:spPr>
            <a:xfrm>
              <a:off x="2656587" y="4291343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>
              <a:extLst>
                <a:ext uri="{FF2B5EF4-FFF2-40B4-BE49-F238E27FC236}">
                  <a16:creationId xmlns="" xmlns:a16="http://schemas.microsoft.com/office/drawing/2014/main" id="{75E2F94F-6FB8-42DE-B256-73C9C45C50FA}"/>
                </a:ext>
              </a:extLst>
            </p:cNvPr>
            <p:cNvSpPr/>
            <p:nvPr/>
          </p:nvSpPr>
          <p:spPr>
            <a:xfrm>
              <a:off x="4924696" y="3882429"/>
              <a:ext cx="470780" cy="506994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line </a:t>
            </a:r>
            <a:r>
              <a:rPr lang="en-US" dirty="0"/>
              <a:t>in </a:t>
            </a:r>
            <a:r>
              <a:rPr lang="en-US" dirty="0" smtClean="0"/>
              <a:t>Jan/Feb</a:t>
            </a:r>
            <a:endParaRPr lang="en-US" dirty="0"/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486025" y="4857750"/>
            <a:ext cx="657225" cy="10144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429125" y="4814888"/>
            <a:ext cx="0" cy="871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000625" y="4386263"/>
            <a:ext cx="1900238" cy="151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14</a:t>
            </a:r>
            <a:endParaRPr lang="en-US" dirty="0"/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78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843197" y="2881544"/>
              <a:ext cx="224397" cy="450131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4" y="2529548"/>
              <a:ext cx="306951" cy="335873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Increase </a:t>
            </a:r>
            <a:r>
              <a:rPr lang="en-US" dirty="0"/>
              <a:t>in </a:t>
            </a:r>
            <a:r>
              <a:rPr lang="en-US" dirty="0" smtClean="0"/>
              <a:t>Mar</a:t>
            </a:r>
            <a:endParaRPr lang="en-US" dirty="0"/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2571750" y="2943225"/>
            <a:ext cx="585789" cy="29146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714875" y="2619375"/>
            <a:ext cx="295275" cy="32670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15</a:t>
            </a:r>
            <a:endParaRPr lang="en-US" dirty="0"/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81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695579" y="1125181"/>
            <a:ext cx="5773575" cy="4365665"/>
            <a:chOff x="152524" y="1439500"/>
            <a:chExt cx="5334051" cy="4033319"/>
          </a:xfrm>
        </p:grpSpPr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0A72F1A8-6303-4C5B-829A-D5D8B8D0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524" y="1439500"/>
              <a:ext cx="5334051" cy="4033319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452D27B2-1D9E-441F-BDC5-3DD825C7C45E}"/>
                </a:ext>
              </a:extLst>
            </p:cNvPr>
            <p:cNvSpPr/>
            <p:nvPr/>
          </p:nvSpPr>
          <p:spPr>
            <a:xfrm>
              <a:off x="723888" y="2525917"/>
              <a:ext cx="1332368" cy="805758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52286D24-7939-45C7-A62F-4615E026705B}"/>
                </a:ext>
              </a:extLst>
            </p:cNvPr>
            <p:cNvSpPr/>
            <p:nvPr/>
          </p:nvSpPr>
          <p:spPr>
            <a:xfrm>
              <a:off x="3031013" y="1765426"/>
              <a:ext cx="1252396" cy="109999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91B942D-3A76-4E99-B8FE-8017F665948F}"/>
              </a:ext>
            </a:extLst>
          </p:cNvPr>
          <p:cNvSpPr txBox="1"/>
          <p:nvPr/>
        </p:nvSpPr>
        <p:spPr>
          <a:xfrm>
            <a:off x="3043238" y="5689395"/>
            <a:ext cx="3057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Sustained </a:t>
            </a:r>
            <a:r>
              <a:rPr lang="en-US" dirty="0"/>
              <a:t>increase until Aug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628650" y="365126"/>
            <a:ext cx="7886700" cy="59147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Zoom to 3 years (1997-1999)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71475" y="5614988"/>
            <a:ext cx="820102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3043239" y="3257550"/>
            <a:ext cx="145129" cy="2589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4872789" y="2700338"/>
            <a:ext cx="685049" cy="3026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16</a:t>
            </a:r>
            <a:endParaRPr lang="en-US" dirty="0"/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32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0_amtrak.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38463" y="2189747"/>
            <a:ext cx="20427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ime Series Basics </a:t>
            </a:r>
          </a:p>
          <a:p>
            <a:r>
              <a:rPr lang="en-US" dirty="0" smtClean="0"/>
              <a:t>Dynamic Plotting</a:t>
            </a:r>
          </a:p>
          <a:p>
            <a:r>
              <a:rPr lang="en-US" dirty="0" err="1" smtClean="0"/>
              <a:t>Lubridate</a:t>
            </a:r>
            <a:r>
              <a:rPr lang="en-US" dirty="0" smtClean="0"/>
              <a:t> Function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38463" y="1600200"/>
            <a:ext cx="148867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Let’s Practice!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419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chine Learning Partitioning</a:t>
            </a:r>
            <a:r>
              <a:rPr lang="en-US" dirty="0"/>
              <a:t>	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114420"/>
            <a:ext cx="7772400" cy="685805"/>
          </a:xfrm>
        </p:spPr>
        <p:txBody>
          <a:bodyPr>
            <a:normAutofit fontScale="92500" lnSpcReduction="10000"/>
          </a:bodyPr>
          <a:lstStyle/>
          <a:p>
            <a:pPr>
              <a:buFont typeface="Wingdings 2" pitchFamily="18" charset="2"/>
              <a:buNone/>
            </a:pPr>
            <a:r>
              <a:rPr lang="en-US" dirty="0"/>
              <a:t>Divide data into training portion and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dirty="0"/>
              <a:t>Test model on the validation </a:t>
            </a:r>
            <a:r>
              <a:rPr lang="en-US" dirty="0" smtClean="0"/>
              <a:t>portion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288381" y="1838325"/>
            <a:ext cx="4567238" cy="4491048"/>
            <a:chOff x="2293158" y="1838325"/>
            <a:chExt cx="4567238" cy="4491048"/>
          </a:xfrm>
        </p:grpSpPr>
        <p:sp>
          <p:nvSpPr>
            <p:cNvPr id="4" name="Flowchart: Magnetic Disk 3"/>
            <p:cNvSpPr/>
            <p:nvPr/>
          </p:nvSpPr>
          <p:spPr>
            <a:xfrm>
              <a:off x="2293158" y="571977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Flowchart: Magnetic Disk 4"/>
            <p:cNvSpPr/>
            <p:nvPr/>
          </p:nvSpPr>
          <p:spPr>
            <a:xfrm>
              <a:off x="2293158" y="529538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Flowchart: Magnetic Disk 5"/>
            <p:cNvSpPr/>
            <p:nvPr/>
          </p:nvSpPr>
          <p:spPr>
            <a:xfrm>
              <a:off x="2293158" y="487098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Flowchart: Magnetic Disk 6"/>
            <p:cNvSpPr/>
            <p:nvPr/>
          </p:nvSpPr>
          <p:spPr>
            <a:xfrm>
              <a:off x="2293158" y="444659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2293158" y="4022202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2293158" y="3597809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2293158" y="317341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2293158" y="274902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2293158" y="232463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2293158" y="190023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71801" y="4043363"/>
              <a:ext cx="912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All Data</a:t>
              </a:r>
              <a:endParaRPr lang="en-US" dirty="0"/>
            </a:p>
          </p:txBody>
        </p:sp>
        <p:sp>
          <p:nvSpPr>
            <p:cNvPr id="15" name="Isosceles Triangle 14"/>
            <p:cNvSpPr/>
            <p:nvPr/>
          </p:nvSpPr>
          <p:spPr>
            <a:xfrm rot="5400000">
              <a:off x="3014677" y="4071937"/>
              <a:ext cx="3186112" cy="3000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lowchart: Magnetic Disk 15"/>
            <p:cNvSpPr/>
            <p:nvPr/>
          </p:nvSpPr>
          <p:spPr>
            <a:xfrm>
              <a:off x="4860146" y="5657860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lowchart: Magnetic Disk 16"/>
            <p:cNvSpPr/>
            <p:nvPr/>
          </p:nvSpPr>
          <p:spPr>
            <a:xfrm>
              <a:off x="4860146" y="5233469"/>
              <a:ext cx="2000250" cy="609601"/>
            </a:xfrm>
            <a:prstGeom prst="flowChartMagneticDisk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lowchart: Magnetic Disk 17"/>
            <p:cNvSpPr/>
            <p:nvPr/>
          </p:nvSpPr>
          <p:spPr>
            <a:xfrm>
              <a:off x="4860146" y="4809076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lowchart: Magnetic Disk 18"/>
            <p:cNvSpPr/>
            <p:nvPr/>
          </p:nvSpPr>
          <p:spPr>
            <a:xfrm>
              <a:off x="4860146" y="4384683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860146" y="3960290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60146" y="3535897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lowchart: Magnetic Disk 21"/>
            <p:cNvSpPr/>
            <p:nvPr/>
          </p:nvSpPr>
          <p:spPr>
            <a:xfrm>
              <a:off x="4860146" y="3111504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lowchart: Magnetic Disk 22"/>
            <p:cNvSpPr/>
            <p:nvPr/>
          </p:nvSpPr>
          <p:spPr>
            <a:xfrm>
              <a:off x="4860146" y="2687111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lowchart: Magnetic Disk 23"/>
            <p:cNvSpPr/>
            <p:nvPr/>
          </p:nvSpPr>
          <p:spPr>
            <a:xfrm>
              <a:off x="4860146" y="2262718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lowchart: Magnetic Disk 24"/>
            <p:cNvSpPr/>
            <p:nvPr/>
          </p:nvSpPr>
          <p:spPr>
            <a:xfrm>
              <a:off x="4860146" y="1838325"/>
              <a:ext cx="2000250" cy="609601"/>
            </a:xfrm>
            <a:prstGeom prst="flowChartMagneticDisk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38751" y="3895726"/>
              <a:ext cx="14687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419739" y="5619751"/>
              <a:ext cx="10447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Test Dat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3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18</a:t>
            </a:r>
            <a:endParaRPr lang="en-US" dirty="0"/>
          </a:p>
        </p:txBody>
      </p:sp>
      <p:sp>
        <p:nvSpPr>
          <p:cNvPr id="3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303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Partitioning </a:t>
            </a:r>
            <a:r>
              <a:rPr lang="en-US" dirty="0"/>
              <a:t>is not random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sz="quarter" idx="1"/>
          </p:nvPr>
        </p:nvSpPr>
        <p:spPr>
          <a:xfrm>
            <a:off x="628650" y="1111347"/>
            <a:ext cx="7886700" cy="3303491"/>
          </a:xfrm>
        </p:spPr>
        <p:txBody>
          <a:bodyPr>
            <a:normAutofit/>
          </a:bodyPr>
          <a:lstStyle/>
          <a:p>
            <a:r>
              <a:rPr lang="en-US" sz="2000" b="1" dirty="0"/>
              <a:t>Random partitioning would leave holes in the data, which causes problem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Forecasting methods assume regular sequential data</a:t>
            </a:r>
          </a:p>
          <a:p>
            <a:r>
              <a:rPr lang="en-US" sz="2000" b="1" dirty="0" smtClean="0"/>
              <a:t>Instead </a:t>
            </a:r>
            <a:r>
              <a:rPr lang="en-US" sz="2000" b="1" dirty="0"/>
              <a:t>of random selection, divide data into two parts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Train on early data</a:t>
            </a:r>
          </a:p>
          <a:p>
            <a:pPr lvl="1">
              <a:buFont typeface="Wingdings 2" pitchFamily="18" charset="2"/>
              <a:buNone/>
            </a:pPr>
            <a:r>
              <a:rPr lang="en-US" sz="1600" dirty="0"/>
              <a:t>Validate on later </a:t>
            </a:r>
            <a:r>
              <a:rPr lang="en-US" sz="1600" dirty="0" smtClean="0"/>
              <a:t>data</a:t>
            </a:r>
          </a:p>
          <a:p>
            <a:pPr marL="114300" lvl="1" indent="-114300"/>
            <a:r>
              <a:rPr lang="en-US" sz="2000" b="1" dirty="0"/>
              <a:t>Performance can be assessed against the “naïve benchmark” </a:t>
            </a:r>
            <a:r>
              <a:rPr lang="en-US" sz="2000" b="1" dirty="0" smtClean="0"/>
              <a:t>&amp; historical </a:t>
            </a:r>
            <a:r>
              <a:rPr lang="en-US" sz="2000" b="1" dirty="0"/>
              <a:t>accuracy </a:t>
            </a:r>
            <a:r>
              <a:rPr lang="en-US" sz="1600" dirty="0" smtClean="0"/>
              <a:t> </a:t>
            </a:r>
            <a:r>
              <a:rPr lang="en-US" sz="1600" i="1" dirty="0"/>
              <a:t>naïve forecast </a:t>
            </a:r>
            <a:r>
              <a:rPr lang="en-US" sz="1600" dirty="0"/>
              <a:t>is simply the most recent value in the time series </a:t>
            </a:r>
          </a:p>
          <a:p>
            <a:pPr lvl="1">
              <a:buFont typeface="Wingdings 2" pitchFamily="18" charset="2"/>
              <a:buNone/>
            </a:pPr>
            <a:endParaRPr lang="en-US" sz="1600" dirty="0" smtClean="0"/>
          </a:p>
        </p:txBody>
      </p:sp>
      <p:grpSp>
        <p:nvGrpSpPr>
          <p:cNvPr id="7" name="Group 6"/>
          <p:cNvGrpSpPr/>
          <p:nvPr/>
        </p:nvGrpSpPr>
        <p:grpSpPr>
          <a:xfrm>
            <a:off x="742950" y="3914753"/>
            <a:ext cx="7562850" cy="1276350"/>
            <a:chOff x="742950" y="4371968"/>
            <a:chExt cx="7562850" cy="1276350"/>
          </a:xfrm>
        </p:grpSpPr>
        <p:sp>
          <p:nvSpPr>
            <p:cNvPr id="2" name="Right Arrow 1"/>
            <p:cNvSpPr/>
            <p:nvPr/>
          </p:nvSpPr>
          <p:spPr>
            <a:xfrm>
              <a:off x="742950" y="4371968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emporal Data Points</a:t>
              </a:r>
              <a:endParaRPr lang="en-US" dirty="0"/>
            </a:p>
          </p:txBody>
        </p:sp>
        <p:sp>
          <p:nvSpPr>
            <p:cNvPr id="5" name="Right Arrow 4"/>
            <p:cNvSpPr/>
            <p:nvPr/>
          </p:nvSpPr>
          <p:spPr>
            <a:xfrm>
              <a:off x="742950" y="5053005"/>
              <a:ext cx="7548563" cy="585788"/>
            </a:xfrm>
            <a:prstGeom prst="right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Training Data</a:t>
              </a:r>
              <a:endParaRPr lang="en-US" dirty="0"/>
            </a:p>
          </p:txBody>
        </p:sp>
        <p:sp>
          <p:nvSpPr>
            <p:cNvPr id="6" name="Right Arrow 5"/>
            <p:cNvSpPr/>
            <p:nvPr/>
          </p:nvSpPr>
          <p:spPr>
            <a:xfrm>
              <a:off x="5757863" y="5062530"/>
              <a:ext cx="2547937" cy="585788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alidation</a:t>
              </a:r>
              <a:endParaRPr lang="en-US" dirty="0"/>
            </a:p>
          </p:txBody>
        </p:sp>
        <p:sp>
          <p:nvSpPr>
            <p:cNvPr id="3" name="Isosceles Triangle 2"/>
            <p:cNvSpPr/>
            <p:nvPr/>
          </p:nvSpPr>
          <p:spPr>
            <a:xfrm rot="10800000">
              <a:off x="3569494" y="4872037"/>
              <a:ext cx="1400175" cy="27146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ctangle 3"/>
          <p:cNvSpPr/>
          <p:nvPr/>
        </p:nvSpPr>
        <p:spPr>
          <a:xfrm>
            <a:off x="785813" y="5743574"/>
            <a:ext cx="7572375" cy="3857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ub-setting data with regard to time is called “out of time” sampling.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19</a:t>
            </a:r>
            <a:endParaRPr lang="en-US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96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2463416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3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	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2057400"/>
            <a:ext cx="7772400" cy="3962400"/>
          </a:xfrm>
        </p:spPr>
        <p:txBody>
          <a:bodyPr/>
          <a:lstStyle/>
          <a:p>
            <a:pPr>
              <a:buFont typeface="Wingdings 2" pitchFamily="18" charset="2"/>
              <a:buNone/>
            </a:pPr>
            <a:r>
              <a:rPr lang="en-US" b="1"/>
              <a:t>Focus is to predict (not describe/explain)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Four components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Level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Trend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Seasonality</a:t>
            </a:r>
          </a:p>
          <a:p>
            <a:pPr lvl="1">
              <a:buFont typeface="Wingdings 2" pitchFamily="18" charset="2"/>
              <a:buNone/>
            </a:pPr>
            <a:r>
              <a:rPr lang="en-US" sz="2000"/>
              <a:t>Noise</a:t>
            </a:r>
          </a:p>
          <a:p>
            <a:pPr>
              <a:buFont typeface="Wingdings 2" pitchFamily="18" charset="2"/>
              <a:buNone/>
            </a:pPr>
            <a:r>
              <a:rPr lang="en-US" b="1"/>
              <a:t>Partition data by dividing into early/late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20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66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89" name="Picture 2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2" t="8288" r="3645" b="2832"/>
          <a:stretch/>
        </p:blipFill>
        <p:spPr bwMode="auto">
          <a:xfrm>
            <a:off x="152400" y="2019299"/>
            <a:ext cx="44196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5" y="365126"/>
            <a:ext cx="8843963" cy="591477"/>
          </a:xfrm>
        </p:spPr>
        <p:txBody>
          <a:bodyPr/>
          <a:lstStyle/>
          <a:p>
            <a:r>
              <a:rPr lang="en-US" sz="3200" dirty="0" smtClean="0"/>
              <a:t>What types of business problems can be forecasted?</a:t>
            </a:r>
            <a:endParaRPr lang="en-US" sz="3200" dirty="0"/>
          </a:p>
        </p:txBody>
      </p:sp>
      <p:sp>
        <p:nvSpPr>
          <p:cNvPr id="4" name="Isosceles Triangle 3"/>
          <p:cNvSpPr/>
          <p:nvPr/>
        </p:nvSpPr>
        <p:spPr>
          <a:xfrm rot="5400000">
            <a:off x="4221196" y="3449670"/>
            <a:ext cx="1447800" cy="498542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71463" y="1243013"/>
            <a:ext cx="8415337" cy="71436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</a:t>
            </a:r>
            <a:r>
              <a:rPr lang="en-US" dirty="0">
                <a:solidFill>
                  <a:schemeClr val="bg1"/>
                </a:solidFill>
              </a:rPr>
              <a:t>cover a set of common </a:t>
            </a:r>
            <a:r>
              <a:rPr lang="en-US" dirty="0" smtClean="0">
                <a:solidFill>
                  <a:schemeClr val="bg1"/>
                </a:solidFill>
              </a:rPr>
              <a:t>forecasting tools </a:t>
            </a:r>
            <a:r>
              <a:rPr lang="en-US" dirty="0">
                <a:solidFill>
                  <a:schemeClr val="bg1"/>
                </a:solidFill>
              </a:rPr>
              <a:t>to make </a:t>
            </a:r>
            <a:r>
              <a:rPr lang="en-US" dirty="0" smtClean="0">
                <a:solidFill>
                  <a:schemeClr val="bg1"/>
                </a:solidFill>
              </a:rPr>
              <a:t>predictions.   </a:t>
            </a:r>
            <a:r>
              <a:rPr lang="en-US" dirty="0">
                <a:solidFill>
                  <a:schemeClr val="bg1"/>
                </a:solidFill>
              </a:rPr>
              <a:t>The goal is to create accurate future values and provide ranges of accuracy in real contexts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29251" y="2128847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mazon’s Quarterly Revenu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472113" y="3014663"/>
            <a:ext cx="338613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ack is the actual through 2013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d is the fit and after the dateline, the best fit-forecast.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Blue represents confidence intervals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21</a:t>
            </a:r>
            <a:endParaRPr lang="en-US" dirty="0"/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67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1_getRevenueData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734" y="1464273"/>
            <a:ext cx="7886700" cy="488853"/>
          </a:xfrm>
        </p:spPr>
        <p:txBody>
          <a:bodyPr/>
          <a:lstStyle/>
          <a:p>
            <a:r>
              <a:rPr lang="en-US" dirty="0" smtClean="0"/>
              <a:t>Let’s grab a time series &amp; plot i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5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381" y="1552578"/>
            <a:ext cx="5329238" cy="425367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meta data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4332" y="1128709"/>
            <a:ext cx="8415337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is the meta data for AMZN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4332" y="5857873"/>
            <a:ext cx="8415337" cy="4810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es the meta data exhibit a discernable pattern?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Do you think historical values are a basis for future values? 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23</a:t>
            </a:r>
            <a:endParaRPr lang="en-US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28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0854118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421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 Common Method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00026" y="1128709"/>
            <a:ext cx="8815388" cy="3857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e will cover 3 common methods to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4312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aiv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057400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olt Winter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900488" y="1643058"/>
            <a:ext cx="1645920" cy="771525"/>
          </a:xfrm>
          <a:prstGeom prst="rect">
            <a:avLst/>
          </a:prstGeom>
          <a:solidFill>
            <a:schemeClr val="accent3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S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743576" y="1643058"/>
            <a:ext cx="164592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7586661" y="1643058"/>
            <a:ext cx="1463040" cy="771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inear Modeling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312" y="2619375"/>
            <a:ext cx="16459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Most comm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asy/Fa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Usually not very 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18579" y="2619375"/>
            <a:ext cx="1645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xponential Smooth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787286" y="2619375"/>
            <a:ext cx="16459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Accurate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trends/trend reversal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ith noisy seri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w/Seasonality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”black box”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58816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801904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644992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488080" y="2519363"/>
            <a:ext cx="0" cy="301752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885477" y="2619375"/>
            <a:ext cx="16459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Decomposes into meta-data componen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Good for de-seasoning &amp; investigating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Not really forecasting futu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82732" y="2619375"/>
            <a:ext cx="1645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Essentially linear regression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Requires additional data manipulation &amp; effort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68968" y="5614738"/>
            <a:ext cx="8486274" cy="5614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RIMA &amp; Linear Model Forecasting is in the Appendix </a:t>
            </a:r>
            <a:r>
              <a:rPr lang="en-US" dirty="0" smtClean="0"/>
              <a:t>presentation.  </a:t>
            </a:r>
            <a:endParaRPr lang="en-US" dirty="0" smtClean="0"/>
          </a:p>
          <a:p>
            <a:pPr algn="ctr"/>
            <a:r>
              <a:rPr lang="en-US" sz="1400" dirty="0" smtClean="0"/>
              <a:t>Their impact on the final will be minimized but some/few multiple choice questions from the book </a:t>
            </a:r>
            <a:r>
              <a:rPr lang="en-US" sz="1400" i="1" dirty="0" smtClean="0"/>
              <a:t>may</a:t>
            </a:r>
            <a:r>
              <a:rPr lang="en-US" sz="1400" dirty="0" smtClean="0"/>
              <a:t> appear.</a:t>
            </a:r>
            <a:endParaRPr lang="en-US" sz="1400" dirty="0"/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25</a:t>
            </a:r>
            <a:endParaRPr lang="en-US" dirty="0"/>
          </a:p>
        </p:txBody>
      </p:sp>
      <p:sp>
        <p:nvSpPr>
          <p:cNvPr id="2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81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 Methods of Naïve Forecasting</a:t>
            </a:r>
            <a:endParaRPr lang="en-US" dirty="0"/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73" y="1275276"/>
            <a:ext cx="244928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1275276"/>
            <a:ext cx="2441259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956" y="3766063"/>
            <a:ext cx="2431568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42" y="3685101"/>
            <a:ext cx="2397904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60516" y="14382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A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60515" y="3781422"/>
            <a:ext cx="1146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asonal</a:t>
            </a:r>
          </a:p>
          <a:p>
            <a:r>
              <a:rPr lang="en-US" dirty="0"/>
              <a:t>Naï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01522" y="1438272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aïv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01522" y="3919921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rif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26</a:t>
            </a:r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106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588" y="1610438"/>
            <a:ext cx="5210937" cy="436876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76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- Mea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Takes the mean for the series and repeats as future forecasts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152129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375768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914" y="1719011"/>
            <a:ext cx="5232492" cy="379947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219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ïve Forecast - Drif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2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03959" y="1992574"/>
            <a:ext cx="2647666" cy="923330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verage rate of change is added from the last known value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03959" y="3384144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Often m</a:t>
            </a:r>
            <a:r>
              <a:rPr lang="en-US" dirty="0" smtClean="0"/>
              <a:t>ore </a:t>
            </a:r>
            <a:r>
              <a:rPr lang="en-US" dirty="0" smtClean="0"/>
              <a:t>accurate than mean with strong trend.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03959" y="4262655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ccuracy hurt by seasonality.</a:t>
            </a:r>
            <a:endParaRPr lang="en-US" dirty="0"/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70" y="1597001"/>
            <a:ext cx="4928406" cy="4698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3364174" y="3650777"/>
            <a:ext cx="4599296" cy="5459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3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A79CF12-30E2-42AE-B34C-9BC94FEBF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1D84C2A-4276-4290-A121-0469B815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CF45EE8-995A-4EDF-98B2-876D4AB9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0F99D124-A478-4855-982C-0F6EAD9A487E}"/>
              </a:ext>
            </a:extLst>
          </p:cNvPr>
          <p:cNvSpPr txBox="1">
            <a:spLocks/>
          </p:cNvSpPr>
          <p:nvPr/>
        </p:nvSpPr>
        <p:spPr>
          <a:xfrm>
            <a:off x="914400" y="1676400"/>
            <a:ext cx="7772400" cy="43434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ecast future values of a time series</a:t>
            </a:r>
          </a:p>
          <a:p>
            <a:r>
              <a:rPr lang="en-US" dirty="0"/>
              <a:t>Distinction between forecasting (main focus) and describing/explaining</a:t>
            </a:r>
          </a:p>
          <a:p>
            <a:r>
              <a:rPr lang="en-US" dirty="0"/>
              <a:t>Before forecasting understand “periodicity”</a:t>
            </a:r>
          </a:p>
          <a:p>
            <a:r>
              <a:rPr lang="en-US" dirty="0"/>
              <a:t>Four components of time series (meta-data):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Level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Trend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Seasonality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Noise</a:t>
            </a:r>
          </a:p>
          <a:p>
            <a:pPr>
              <a:buFont typeface="Arial" charset="0"/>
              <a:buChar char="•"/>
            </a:pPr>
            <a:r>
              <a:rPr lang="en-US" dirty="0"/>
              <a:t>Time series data is great for enrichment and engineering e.g. “event flags” but can be modeled as a standalone vector due to the meta data </a:t>
            </a:r>
            <a:r>
              <a:rPr lang="en-US" i="1" dirty="0"/>
              <a:t>“inside” </a:t>
            </a:r>
            <a:r>
              <a:rPr lang="en-US" dirty="0"/>
              <a:t>the vecto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CF693E49-70BD-4C3F-A7E3-57DB09DE4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 ideas</a:t>
            </a:r>
          </a:p>
        </p:txBody>
      </p:sp>
    </p:spTree>
    <p:extLst>
      <p:ext uri="{BB962C8B-B14F-4D97-AF65-F5344CB8AC3E}">
        <p14:creationId xmlns:p14="http://schemas.microsoft.com/office/powerpoint/2010/main" val="342936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9493"/>
            <a:ext cx="5380095" cy="451058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(tru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last value as futur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51727" y="2756344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92670" y="3457436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348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52" y="1563632"/>
            <a:ext cx="5381864" cy="4512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ïve Forecast – Naïve Seasona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10783" y="1992574"/>
            <a:ext cx="2647666" cy="1200329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Uses </a:t>
            </a:r>
            <a:r>
              <a:rPr lang="en-US" dirty="0" smtClean="0"/>
              <a:t>last corresponding seasonal values in a repeating pattern.  Good if no trend.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0783" y="3438733"/>
            <a:ext cx="264766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Does this look accurate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110783" y="4044289"/>
            <a:ext cx="2647666" cy="6463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When would this be appropriate?</a:t>
            </a:r>
            <a:endParaRPr lang="en-US" dirty="0"/>
          </a:p>
        </p:txBody>
      </p:sp>
      <p:sp>
        <p:nvSpPr>
          <p:cNvPr id="18" name="Isosceles Triangle 17"/>
          <p:cNvSpPr/>
          <p:nvPr/>
        </p:nvSpPr>
        <p:spPr>
          <a:xfrm rot="5400000">
            <a:off x="3944202" y="3493828"/>
            <a:ext cx="3930554" cy="3275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6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514721" y="3798725"/>
            <a:ext cx="4900655" cy="2748853"/>
            <a:chOff x="3979942" y="3412955"/>
            <a:chExt cx="4900655" cy="2748853"/>
          </a:xfrm>
        </p:grpSpPr>
        <p:pic>
          <p:nvPicPr>
            <p:cNvPr id="18437" name="Picture 5" descr="Image result for normal distribution curve transparent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665" y="3980582"/>
              <a:ext cx="4638675" cy="2181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Arrow Connector 15"/>
            <p:cNvCxnSpPr/>
            <p:nvPr/>
          </p:nvCxnSpPr>
          <p:spPr>
            <a:xfrm flipV="1">
              <a:off x="4217880" y="4089242"/>
              <a:ext cx="0" cy="16459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3700923" y="4891063"/>
              <a:ext cx="8350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Frequency</a:t>
              </a:r>
              <a:endParaRPr lang="en-US" sz="1200" dirty="0"/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4217157" y="5717621"/>
              <a:ext cx="4663440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6172723" y="5724699"/>
              <a:ext cx="58964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Values</a:t>
              </a:r>
              <a:endParaRPr lang="en-US" sz="1200" dirty="0"/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6388768" y="3581398"/>
              <a:ext cx="1215191" cy="21656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7543800" y="3412955"/>
              <a:ext cx="12875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Mu:</a:t>
              </a:r>
            </a:p>
            <a:p>
              <a:r>
                <a:rPr lang="en-US" sz="1200" dirty="0" err="1" smtClean="0"/>
                <a:t>Avg</a:t>
              </a:r>
              <a:r>
                <a:rPr lang="en-US" sz="1200" dirty="0" smtClean="0"/>
                <a:t> of population</a:t>
              </a: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75705" t="13454" r="5640" b="53169"/>
          <a:stretch/>
        </p:blipFill>
        <p:spPr>
          <a:xfrm>
            <a:off x="423081" y="1296530"/>
            <a:ext cx="2361062" cy="463904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3491911" y="1146406"/>
            <a:ext cx="5567422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ndependent and identically distributed random </a:t>
            </a:r>
            <a:r>
              <a:rPr lang="en-US" dirty="0" smtClean="0"/>
              <a:t>variabl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507480" y="1520862"/>
            <a:ext cx="552222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Represents Prediction Intervals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 smtClean="0"/>
              <a:t>Assumes a normal distribution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4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4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4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</a:p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000" dirty="0"/>
              <a:t>Each period increases standard deviation; stretching out the normal distribution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dirty="0"/>
              <a:t>As time progresses uncertainty increases</a:t>
            </a:r>
          </a:p>
        </p:txBody>
      </p:sp>
      <p:sp>
        <p:nvSpPr>
          <p:cNvPr id="27" name="Isosceles Triangle 26"/>
          <p:cNvSpPr/>
          <p:nvPr/>
        </p:nvSpPr>
        <p:spPr>
          <a:xfrm rot="5400000">
            <a:off x="834188" y="3384883"/>
            <a:ext cx="4652210" cy="44918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8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ed Forecast Area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75705" t="13454" r="5640" b="53169"/>
          <a:stretch/>
        </p:blipFill>
        <p:spPr>
          <a:xfrm>
            <a:off x="505063" y="1491917"/>
            <a:ext cx="3890472" cy="417260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5277854" y="1403560"/>
            <a:ext cx="3625516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>
              <a:buFont typeface="Arial" panose="020B0604020202020204" pitchFamily="34" charset="0"/>
              <a:buChar char="•"/>
            </a:pPr>
            <a:r>
              <a:rPr lang="en-US" sz="2400" dirty="0" smtClean="0"/>
              <a:t>Laying the normal distribution onto the forecast you get a probability centered at the forecast.</a:t>
            </a: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80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 </a:t>
            </a:r>
            <a:r>
              <a:rPr lang="en-US" altLang="en-US" sz="1600" dirty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95 </a:t>
            </a:r>
            <a:endParaRPr lang="en-US" altLang="en-US" sz="1600" dirty="0" smtClean="0">
              <a:solidFill>
                <a:srgbClr val="000000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566738" lvl="1" indent="-109538">
              <a:buFont typeface="Arial" panose="020B0604020202020204" pitchFamily="34" charset="0"/>
              <a:buChar char="•"/>
            </a:pPr>
            <a:r>
              <a:rPr lang="en-US" altLang="en-US" sz="1600" dirty="0" smtClean="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i 95</a:t>
            </a:r>
            <a:endParaRPr lang="en-US" sz="16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8" name="Picture 2" descr="Image result for normal distribution curve transparen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9" t="11922"/>
          <a:stretch/>
        </p:blipFill>
        <p:spPr bwMode="auto">
          <a:xfrm rot="5400000">
            <a:off x="943677" y="3322570"/>
            <a:ext cx="4684298" cy="121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2713704" y="3045541"/>
            <a:ext cx="125362" cy="12536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2703872" y="4510547"/>
            <a:ext cx="125362" cy="125362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703872" y="3610896"/>
            <a:ext cx="125362" cy="12536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>
            <a:stCxn id="31" idx="6"/>
          </p:cNvCxnSpPr>
          <p:nvPr/>
        </p:nvCxnSpPr>
        <p:spPr>
          <a:xfrm flipV="1">
            <a:off x="2829234" y="3898232"/>
            <a:ext cx="2957955" cy="67499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8" idx="6"/>
          </p:cNvCxnSpPr>
          <p:nvPr/>
        </p:nvCxnSpPr>
        <p:spPr>
          <a:xfrm>
            <a:off x="2839066" y="3108222"/>
            <a:ext cx="2960155" cy="53734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000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2_NaiveNike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00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146774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80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488" y="1654272"/>
            <a:ext cx="3771900" cy="1388966"/>
          </a:xfrm>
        </p:spPr>
        <p:txBody>
          <a:bodyPr/>
          <a:lstStyle/>
          <a:p>
            <a:r>
              <a:rPr lang="en-US" dirty="0" smtClean="0"/>
              <a:t>Decompose a time series into</a:t>
            </a:r>
          </a:p>
          <a:p>
            <a:pPr lvl="1"/>
            <a:r>
              <a:rPr lang="en-US" dirty="0" smtClean="0"/>
              <a:t>Trend</a:t>
            </a:r>
          </a:p>
          <a:p>
            <a:pPr lvl="1"/>
            <a:r>
              <a:rPr lang="en-US" dirty="0" smtClean="0"/>
              <a:t>Seasonal</a:t>
            </a:r>
          </a:p>
          <a:p>
            <a:pPr lvl="1"/>
            <a:r>
              <a:rPr lang="en-US" dirty="0" smtClean="0"/>
              <a:t>Random (noise)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4861707" cy="484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5024438" y="3206847"/>
            <a:ext cx="3771900" cy="2093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e-Season Data</a:t>
            </a:r>
          </a:p>
          <a:p>
            <a:pPr lvl="1"/>
            <a:r>
              <a:rPr lang="en-US" dirty="0" smtClean="0"/>
              <a:t>Helps understand the underlying characteristics of a time series</a:t>
            </a:r>
          </a:p>
          <a:p>
            <a:r>
              <a:rPr lang="en-US" dirty="0" smtClean="0"/>
              <a:t>Sometimes applying a forecast or model to the random component can improve accura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5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2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357187" y="3571857"/>
            <a:ext cx="529760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u="sng" dirty="0" smtClean="0"/>
              <a:t>Where (Math-speak version):</a:t>
            </a:r>
          </a:p>
          <a:p>
            <a:r>
              <a:rPr lang="en-US" sz="2000" dirty="0" err="1"/>
              <a:t>Y</a:t>
            </a:r>
            <a:r>
              <a:rPr lang="en-US" sz="2000" baseline="-25000" dirty="0" err="1"/>
              <a:t>t</a:t>
            </a:r>
            <a:r>
              <a:rPr lang="en-US" sz="2000" dirty="0"/>
              <a:t> </a:t>
            </a:r>
            <a:r>
              <a:rPr lang="en-US" sz="2000" dirty="0" smtClean="0"/>
              <a:t>= data at period t</a:t>
            </a:r>
          </a:p>
          <a:p>
            <a:r>
              <a:rPr lang="en-US" sz="2000" dirty="0" smtClean="0"/>
              <a:t>S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seasonal component at period t</a:t>
            </a:r>
          </a:p>
          <a:p>
            <a:r>
              <a:rPr lang="en-US" sz="2000" dirty="0" smtClean="0"/>
              <a:t>T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trend component at period t</a:t>
            </a:r>
          </a:p>
          <a:p>
            <a:r>
              <a:rPr lang="en-US" sz="2000" dirty="0" smtClean="0"/>
              <a:t>E</a:t>
            </a:r>
            <a:r>
              <a:rPr lang="en-US" sz="2000" baseline="-25000" dirty="0" smtClean="0"/>
              <a:t>t</a:t>
            </a:r>
            <a:r>
              <a:rPr lang="en-US" sz="2000" dirty="0" smtClean="0"/>
              <a:t> = remainder or residual component at period t</a:t>
            </a:r>
            <a:endParaRPr lang="en-US" sz="20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836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400" dirty="0" err="1" smtClean="0"/>
                  <a:t>Y</a:t>
                </a:r>
                <a:r>
                  <a:rPr lang="en-US" sz="4400" baseline="-25000" dirty="0" err="1" smtClean="0"/>
                  <a:t>t</a:t>
                </a:r>
                <a:r>
                  <a:rPr lang="en-US" sz="4400" dirty="0" smtClean="0"/>
                  <a:t> = </a:t>
                </a:r>
                <a14:m>
                  <m:oMath xmlns:m="http://schemas.openxmlformats.org/officeDocument/2006/math">
                    <m:r>
                      <a:rPr lang="pt-BR" sz="440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4400" dirty="0" smtClean="0"/>
                  <a:t>(S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T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, E</a:t>
                </a:r>
                <a:r>
                  <a:rPr lang="en-US" sz="4400" baseline="-25000" dirty="0" smtClean="0"/>
                  <a:t>t</a:t>
                </a:r>
                <a:r>
                  <a:rPr lang="en-US" sz="4400" dirty="0" smtClean="0"/>
                  <a:t>)</a:t>
                </a:r>
                <a:r>
                  <a:rPr lang="en-US" sz="4400" baseline="-25000" dirty="0" smtClean="0"/>
                  <a:t> </a:t>
                </a:r>
                <a:endParaRPr lang="en-US" sz="4400" baseline="-25000" dirty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4248" y="1128692"/>
                <a:ext cx="3715504" cy="769441"/>
              </a:xfrm>
              <a:prstGeom prst="rect">
                <a:avLst/>
              </a:prstGeom>
              <a:blipFill rotWithShape="0">
                <a:blip r:embed="rId3"/>
                <a:stretch>
                  <a:fillRect l="-6557" t="-15873" b="-373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/>
          <p:cNvSpPr txBox="1"/>
          <p:nvPr/>
        </p:nvSpPr>
        <p:spPr>
          <a:xfrm>
            <a:off x="314325" y="2014520"/>
            <a:ext cx="85098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ata at a specific time period (t) is equal to a mix* of seasonal  values, trend values and whatever is left  at the same time period.</a:t>
            </a:r>
            <a:endParaRPr lang="en-US" sz="24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957263" y="1914514"/>
            <a:ext cx="751522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88112" y="3357554"/>
            <a:ext cx="89558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Mix can either be </a:t>
            </a:r>
          </a:p>
          <a:p>
            <a:r>
              <a:rPr lang="en-US" sz="1600" b="1" dirty="0" smtClean="0"/>
              <a:t>Additive</a:t>
            </a:r>
            <a:r>
              <a:rPr lang="en-US" sz="1600" dirty="0" smtClean="0"/>
              <a:t> – </a:t>
            </a:r>
            <a:r>
              <a:rPr lang="en-US" sz="1600" dirty="0" err="1" smtClean="0"/>
              <a:t>Y</a:t>
            </a:r>
            <a:r>
              <a:rPr lang="en-US" sz="1600" baseline="-25000" dirty="0" err="1" smtClean="0"/>
              <a:t>t</a:t>
            </a:r>
            <a:r>
              <a:rPr lang="en-US" sz="1600" dirty="0" smtClean="0"/>
              <a:t>= </a:t>
            </a:r>
            <a:r>
              <a:rPr lang="en-US" sz="1600" dirty="0"/>
              <a:t>Seasonal effect + </a:t>
            </a:r>
            <a:r>
              <a:rPr lang="en-US" sz="1600"/>
              <a:t>Trend </a:t>
            </a:r>
            <a:r>
              <a:rPr lang="en-US" sz="1600" smtClean="0"/>
              <a:t>+ </a:t>
            </a:r>
            <a:r>
              <a:rPr lang="en-US" sz="1600" dirty="0" smtClean="0"/>
              <a:t>Residual</a:t>
            </a:r>
          </a:p>
          <a:p>
            <a:r>
              <a:rPr lang="en-US" sz="1600" dirty="0" smtClean="0"/>
              <a:t>An </a:t>
            </a:r>
            <a:r>
              <a:rPr lang="en-US" sz="1600" dirty="0"/>
              <a:t>additive model assumes that </a:t>
            </a:r>
            <a:r>
              <a:rPr lang="en-US" sz="1600" b="1" dirty="0">
                <a:solidFill>
                  <a:schemeClr val="accent1"/>
                </a:solidFill>
              </a:rPr>
              <a:t>the difference between </a:t>
            </a:r>
            <a:r>
              <a:rPr lang="en-US" sz="1600" b="1" dirty="0" smtClean="0">
                <a:solidFill>
                  <a:schemeClr val="accent1"/>
                </a:solidFill>
              </a:rPr>
              <a:t>each time period is </a:t>
            </a:r>
            <a:r>
              <a:rPr lang="en-US" sz="1600" b="1" dirty="0">
                <a:solidFill>
                  <a:schemeClr val="accent1"/>
                </a:solidFill>
              </a:rPr>
              <a:t>approximately the </a:t>
            </a:r>
            <a:r>
              <a:rPr lang="en-US" sz="1600" b="1" dirty="0" smtClean="0">
                <a:solidFill>
                  <a:schemeClr val="accent1"/>
                </a:solidFill>
              </a:rPr>
              <a:t>same</a:t>
            </a:r>
          </a:p>
          <a:p>
            <a:r>
              <a:rPr lang="en-US" sz="1600" dirty="0" smtClean="0"/>
              <a:t> For example, Jan trend is +100, </a:t>
            </a:r>
            <a:r>
              <a:rPr lang="en-US" sz="1600" dirty="0"/>
              <a:t> </a:t>
            </a:r>
            <a:r>
              <a:rPr lang="en-US" sz="1600" dirty="0" smtClean="0"/>
              <a:t>so next Jan trend would add another +100.  </a:t>
            </a:r>
          </a:p>
          <a:p>
            <a:endParaRPr lang="en-US" sz="1600" b="1" dirty="0" smtClean="0"/>
          </a:p>
          <a:p>
            <a:r>
              <a:rPr lang="en-US" sz="1600" b="1" dirty="0" smtClean="0"/>
              <a:t>Multiplicative</a:t>
            </a:r>
            <a:r>
              <a:rPr lang="en-US" sz="1600" dirty="0" smtClean="0"/>
              <a:t> - </a:t>
            </a:r>
            <a:r>
              <a:rPr lang="en-US" sz="1600" dirty="0" err="1"/>
              <a:t>Y</a:t>
            </a:r>
            <a:r>
              <a:rPr lang="en-US" sz="1600" baseline="-25000" dirty="0" err="1"/>
              <a:t>t</a:t>
            </a:r>
            <a:r>
              <a:rPr lang="en-US" sz="1600" dirty="0"/>
              <a:t>= Seasonal effect </a:t>
            </a:r>
            <a:r>
              <a:rPr lang="en-US" sz="1600" dirty="0" smtClean="0"/>
              <a:t>X </a:t>
            </a:r>
            <a:r>
              <a:rPr lang="en-US" sz="1600"/>
              <a:t>Trend </a:t>
            </a:r>
            <a:r>
              <a:rPr lang="en-US" sz="1600" smtClean="0"/>
              <a:t>X </a:t>
            </a:r>
            <a:r>
              <a:rPr lang="en-US" sz="1600" dirty="0" smtClean="0"/>
              <a:t>Residual</a:t>
            </a:r>
          </a:p>
          <a:p>
            <a:r>
              <a:rPr lang="en-US" sz="1600" dirty="0" smtClean="0"/>
              <a:t>A multiplicative model assumes </a:t>
            </a:r>
            <a:r>
              <a:rPr lang="en-US" sz="1600" b="1" dirty="0" smtClean="0">
                <a:solidFill>
                  <a:schemeClr val="accent1"/>
                </a:solidFill>
              </a:rPr>
              <a:t>changes are proportional and not constant</a:t>
            </a:r>
            <a:r>
              <a:rPr lang="en-US" sz="16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en-US" sz="1600" dirty="0" smtClean="0"/>
              <a:t>For example Jan season is +100 as part of a 1,000 total (10%).  The next Jan the total is 1500, and the seasonal adjustment would be 150 (10%).    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87686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3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7176" y="5057775"/>
            <a:ext cx="8343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additive models if the seasonality (repeating pattern) is simil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multiplicative if the seasonality grows larger over time but is still the same proportion of the total</a:t>
            </a:r>
            <a:endParaRPr lang="en-US" dirty="0"/>
          </a:p>
        </p:txBody>
      </p:sp>
      <p:pic>
        <p:nvPicPr>
          <p:cNvPr id="18434" name="Picture 2" descr="Image result for additive time seri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6" y="2047864"/>
            <a:ext cx="370522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Image result for multiplicative time 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014" y="2076919"/>
            <a:ext cx="3989386" cy="240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00038" y="1576376"/>
            <a:ext cx="3600450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itive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610100" y="1576376"/>
            <a:ext cx="4133849" cy="400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ultiplicative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4325" y="4800600"/>
            <a:ext cx="83439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209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L Data Fr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180644" y="4794235"/>
            <a:ext cx="89633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record is a standalone observation of a phenomena you are trying to predict, classify or clu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cords have defined attributes for each data row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tice time is not interacting between rows </a:t>
            </a:r>
            <a:r>
              <a:rPr lang="en-US" i="1" dirty="0" smtClean="0"/>
              <a:t>(or it had not better be) </a:t>
            </a:r>
            <a:r>
              <a:rPr lang="en-US" dirty="0" smtClean="0"/>
              <a:t>but is present at the observational row.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785" y="2151757"/>
            <a:ext cx="8539841" cy="1371600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>
          <a:xfrm>
            <a:off x="342912" y="2200275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71775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57225" y="3857625"/>
            <a:ext cx="81153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087713" y="3924300"/>
            <a:ext cx="2127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s for each observation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213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– Time Series Decomposi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71501" y="1657350"/>
            <a:ext cx="79724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eparates Trend, Seasonal and Random components of a time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onents are combined b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dditive – adding components is appropriate if the seasonal pattern is consist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ultiplicative – multiplying components is appropriate if the seasonal pattern changes over time but it proportional to the time s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SD can help you understand the data and can be done as part of E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ach component can be forecasted separately to (sometimes) improve accuracy then each forecast can be combined to arrive at a final forec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-seasoning data is possible by subtracting (additive TSD) or dividing (multiplicative TSD) it out of the time se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195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3_TimeSeriesDecompositionAMZN.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44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6468322"/>
              </p:ext>
            </p:extLst>
          </p:nvPr>
        </p:nvGraphicFramePr>
        <p:xfrm>
          <a:off x="614363" y="1111250"/>
          <a:ext cx="7915275" cy="3169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428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12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8111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t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Forecasting?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ïve Forecasting Methods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me Series Decomposition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HoltWinters</a:t>
                      </a:r>
                      <a:r>
                        <a:rPr lang="en-US" sz="2000" dirty="0" smtClean="0"/>
                        <a:t> Forecas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Appendix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9E99B-5349-415A-8E56-8E989211A366}" type="datetime1">
              <a:rPr lang="en-US" smtClean="0"/>
              <a:t>10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605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</a:t>
            </a:r>
            <a:r>
              <a:rPr lang="en-US" dirty="0" smtClean="0"/>
              <a:t>CSCI 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Mean Average – good for population summar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1461" y="1643062"/>
            <a:ext cx="245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328611" y="2328863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Each record has the same weight.</a:t>
            </a:r>
            <a:endParaRPr lang="en-US" sz="1600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919681"/>
              </p:ext>
            </p:extLst>
          </p:nvPr>
        </p:nvGraphicFramePr>
        <p:xfrm>
          <a:off x="789430" y="3054351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47326" y="5514976"/>
            <a:ext cx="1905721" cy="522083"/>
            <a:chOff x="385763" y="5514976"/>
            <a:chExt cx="1905721" cy="522083"/>
          </a:xfrm>
        </p:grpSpPr>
        <p:grpSp>
          <p:nvGrpSpPr>
            <p:cNvPr id="17" name="Group 16"/>
            <p:cNvGrpSpPr/>
            <p:nvPr/>
          </p:nvGrpSpPr>
          <p:grpSpPr>
            <a:xfrm>
              <a:off x="385763" y="5514976"/>
              <a:ext cx="1457450" cy="522083"/>
              <a:chOff x="385763" y="5514976"/>
              <a:chExt cx="1457450" cy="522083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85763" y="5514976"/>
                <a:ext cx="145745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u="sng" dirty="0" smtClean="0"/>
                  <a:t>10+20+30+40+50</a:t>
                </a:r>
                <a:endParaRPr lang="en-US" sz="1400" u="sng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976469" y="5729282"/>
                <a:ext cx="2760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dirty="0" smtClean="0"/>
                  <a:t>5</a:t>
                </a:r>
                <a:endParaRPr lang="en-US" sz="1400" dirty="0"/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757363" y="5591351"/>
              <a:ext cx="5341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=30</a:t>
              </a:r>
              <a:endParaRPr lang="en-US" dirty="0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043488" y="1757362"/>
            <a:ext cx="1704313" cy="6463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mean(riders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[1] 1822.197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613" y="2433637"/>
            <a:ext cx="4924426" cy="3769958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>
            <a:off x="3214688" y="1971675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793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207" y="1943093"/>
            <a:ext cx="5139442" cy="39445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Centered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856115"/>
              </p:ext>
            </p:extLst>
          </p:nvPr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5" name="Isosceles Triangle 24"/>
          <p:cNvSpPr/>
          <p:nvPr/>
        </p:nvSpPr>
        <p:spPr>
          <a:xfrm rot="5400000">
            <a:off x="1339673" y="3941925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962129" y="3757615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3938584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652967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30+40+5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22429" y="4300540"/>
            <a:ext cx="319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…</a:t>
            </a:r>
            <a:endParaRPr lang="en-US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2711859" y="4672186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4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3781608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15</a:t>
            </a:r>
            <a:endParaRPr lang="en-US" dirty="0"/>
          </a:p>
        </p:txBody>
      </p:sp>
      <p:sp>
        <p:nvSpPr>
          <p:cNvPr id="38" name="Isosceles Triangle 37"/>
          <p:cNvSpPr/>
          <p:nvPr/>
        </p:nvSpPr>
        <p:spPr>
          <a:xfrm rot="5400000">
            <a:off x="1334911" y="4365787"/>
            <a:ext cx="1097280" cy="2286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Isosceles Triangle 38"/>
          <p:cNvSpPr/>
          <p:nvPr/>
        </p:nvSpPr>
        <p:spPr>
          <a:xfrm rot="5400000">
            <a:off x="1334910" y="4694400"/>
            <a:ext cx="1097280" cy="2286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Descriptive because it uses values from the future so not good for forecasting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37904" y="1628776"/>
            <a:ext cx="284404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/>
              <a:t>ma(riders, order =12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2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Trailing Moving Average – smooths seasonality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298869" y="3149604"/>
          <a:ext cx="1421512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3593"/>
                <a:gridCol w="6179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umb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Valu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245091" y="1709741"/>
            <a:ext cx="2457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dd all values and divide by population </a:t>
            </a:r>
            <a:r>
              <a:rPr lang="en-US" sz="1600" b="1" i="1" dirty="0" smtClean="0"/>
              <a:t>in the window</a:t>
            </a:r>
            <a:endParaRPr lang="en-US" sz="1600" b="1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302241" y="2438404"/>
            <a:ext cx="2343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Records in the window have the same weight.</a:t>
            </a:r>
            <a:endParaRPr lang="en-US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2118421" y="3214691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 = 3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962129" y="4314841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10+20+30</a:t>
            </a:r>
            <a:endParaRPr lang="en-US" sz="1400" u="sng" dirty="0"/>
          </a:p>
        </p:txBody>
      </p:sp>
      <p:sp>
        <p:nvSpPr>
          <p:cNvPr id="30" name="TextBox 29"/>
          <p:cNvSpPr txBox="1"/>
          <p:nvPr/>
        </p:nvSpPr>
        <p:spPr>
          <a:xfrm>
            <a:off x="2280324" y="44958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1962129" y="4752983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 smtClean="0"/>
              <a:t>20+30+40</a:t>
            </a:r>
            <a:endParaRPr lang="en-US" sz="1400" u="sng" dirty="0"/>
          </a:p>
        </p:txBody>
      </p:sp>
      <p:sp>
        <p:nvSpPr>
          <p:cNvPr id="32" name="TextBox 31"/>
          <p:cNvSpPr txBox="1"/>
          <p:nvPr/>
        </p:nvSpPr>
        <p:spPr>
          <a:xfrm>
            <a:off x="2280324" y="49768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11859" y="4772202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30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2711859" y="4338834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=20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Uses preceding window values so ok for forecasts but lags for trend and seasonal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726277" y="1628776"/>
            <a:ext cx="5250155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Consolas" panose="020B0609020204030204" pitchFamily="49" charset="0"/>
                <a:cs typeface="Consolas" panose="020B0609020204030204" pitchFamily="49" charset="0"/>
              </a:defRPr>
            </a:lvl1pPr>
          </a:lstStyle>
          <a:p>
            <a:r>
              <a:rPr lang="en-US" dirty="0" err="1"/>
              <a:t>rollmean</a:t>
            </a:r>
            <a:r>
              <a:rPr lang="en-US" dirty="0"/>
              <a:t>(riders, k = 12, align = 'right'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8706" y="2019451"/>
            <a:ext cx="5025297" cy="3795562"/>
          </a:xfrm>
          <a:prstGeom prst="rect">
            <a:avLst/>
          </a:prstGeom>
        </p:spPr>
      </p:pic>
      <p:sp>
        <p:nvSpPr>
          <p:cNvPr id="43" name="Freeform 42"/>
          <p:cNvSpPr/>
          <p:nvPr/>
        </p:nvSpPr>
        <p:spPr>
          <a:xfrm rot="5400000">
            <a:off x="1426349" y="3957639"/>
            <a:ext cx="928690" cy="242888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rot="5400000">
            <a:off x="1330246" y="4327582"/>
            <a:ext cx="1097280" cy="219272"/>
          </a:xfrm>
          <a:custGeom>
            <a:avLst/>
            <a:gdLst>
              <a:gd name="connsiteX0" fmla="*/ 0 w 526252"/>
              <a:gd name="connsiteY0" fmla="*/ 219272 h 219272"/>
              <a:gd name="connsiteX1" fmla="*/ 526252 w 526252"/>
              <a:gd name="connsiteY1" fmla="*/ 0 h 219272"/>
              <a:gd name="connsiteX2" fmla="*/ 526252 w 526252"/>
              <a:gd name="connsiteY2" fmla="*/ 219272 h 219272"/>
              <a:gd name="connsiteX3" fmla="*/ 0 w 526252"/>
              <a:gd name="connsiteY3" fmla="*/ 219272 h 219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252" h="219272">
                <a:moveTo>
                  <a:pt x="0" y="219272"/>
                </a:moveTo>
                <a:lnTo>
                  <a:pt x="526252" y="0"/>
                </a:lnTo>
                <a:lnTo>
                  <a:pt x="526252" y="219272"/>
                </a:lnTo>
                <a:lnTo>
                  <a:pt x="0" y="219272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>
            <a:off x="3300416" y="1643051"/>
            <a:ext cx="0" cy="41290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7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first averages…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8600" y="1116794"/>
            <a:ext cx="8658225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xponential Smoothing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2888" y="1752603"/>
            <a:ext cx="8629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u="sng" dirty="0" smtClean="0"/>
              <a:t>Older records in the window have the </a:t>
            </a:r>
            <a:r>
              <a:rPr lang="en-US" sz="2800" b="1" u="sng" dirty="0" smtClean="0"/>
              <a:t>diminishing</a:t>
            </a:r>
            <a:r>
              <a:rPr lang="en-US" sz="2800" u="sng" dirty="0" smtClean="0"/>
              <a:t>  weight</a:t>
            </a:r>
            <a:endParaRPr lang="en-US" sz="2800" u="sng" dirty="0"/>
          </a:p>
        </p:txBody>
      </p:sp>
      <p:sp>
        <p:nvSpPr>
          <p:cNvPr id="41" name="TextBox 40"/>
          <p:cNvSpPr txBox="1"/>
          <p:nvPr/>
        </p:nvSpPr>
        <p:spPr>
          <a:xfrm>
            <a:off x="352425" y="5912627"/>
            <a:ext cx="865822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 are weighted so their impact diminishes in the average the farther back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984267" y="2944296"/>
            <a:ext cx="5473808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 smtClean="0"/>
              <a:t>α</a:t>
            </a:r>
            <a:r>
              <a:rPr lang="en-US" sz="2400" b="1" dirty="0" smtClean="0"/>
              <a:t> is a parameter between 0 and 1.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0 = </a:t>
            </a:r>
            <a:r>
              <a:rPr lang="en-US" dirty="0"/>
              <a:t>more weight is given to observations from the more distant </a:t>
            </a:r>
            <a:r>
              <a:rPr lang="en-US" dirty="0" smtClean="0"/>
              <a:t>pa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pproaching 1= more weight given to rec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1 = all weight given to the most recent (same as a true Naïve forecas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62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4_HoltWintersWMT.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4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" y="1116794"/>
            <a:ext cx="8658225" cy="646331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W applies exponential </a:t>
            </a:r>
            <a:r>
              <a:rPr lang="en-US" dirty="0">
                <a:solidFill>
                  <a:schemeClr val="bg1"/>
                </a:solidFill>
              </a:rPr>
              <a:t>s</a:t>
            </a:r>
            <a:r>
              <a:rPr lang="en-US" dirty="0" smtClean="0">
                <a:solidFill>
                  <a:schemeClr val="bg1"/>
                </a:solidFill>
              </a:rPr>
              <a:t>moothing to level, trend and seasonality individually then combines them.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865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E42EE3-9848-4091-AB32-9CD1544500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5CF0D48-1409-4FA8-BC35-CEE75BFEF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57" y="365126"/>
            <a:ext cx="8618899" cy="591477"/>
          </a:xfrm>
        </p:spPr>
        <p:txBody>
          <a:bodyPr/>
          <a:lstStyle/>
          <a:p>
            <a:r>
              <a:rPr lang="en-US" sz="2600" dirty="0"/>
              <a:t>Difference between ML Data Setup &amp; Time Series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236DEF1-B7DD-43A0-BF17-9242EB8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728560-6A4E-47D2-9335-23EFE2B93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AD1D07-F801-42E5-819D-E8E714D70829}"/>
              </a:ext>
            </a:extLst>
          </p:cNvPr>
          <p:cNvSpPr/>
          <p:nvPr/>
        </p:nvSpPr>
        <p:spPr>
          <a:xfrm>
            <a:off x="280657" y="1520982"/>
            <a:ext cx="8549018" cy="3530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ime Series Dat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385DCF-E141-4D39-B06E-9C9C5AF21B3D}"/>
              </a:ext>
            </a:extLst>
          </p:cNvPr>
          <p:cNvSpPr txBox="1"/>
          <p:nvPr/>
        </p:nvSpPr>
        <p:spPr>
          <a:xfrm>
            <a:off x="2914650" y="2522530"/>
            <a:ext cx="58293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is </a:t>
            </a:r>
            <a:r>
              <a:rPr lang="en-US" dirty="0" smtClean="0"/>
              <a:t>typically (not always) </a:t>
            </a:r>
            <a:r>
              <a:rPr lang="en-US" dirty="0"/>
              <a:t>in a single vector with each value being in sequence to the nex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tributes may not be present because temporal information is held “within” the vector due to the relatedness of each record.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342912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6200000">
            <a:off x="-365100" y="2738051"/>
            <a:ext cx="10071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Observations</a:t>
            </a:r>
            <a:endParaRPr lang="en-US" sz="1200" dirty="0">
              <a:solidFill>
                <a:schemeClr val="accent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7" y="2085975"/>
            <a:ext cx="1381125" cy="3086100"/>
          </a:xfrm>
          <a:prstGeom prst="rect">
            <a:avLst/>
          </a:prstGeom>
        </p:spPr>
      </p:pic>
      <p:cxnSp>
        <p:nvCxnSpPr>
          <p:cNvPr id="14" name="Straight Arrow Connector 13"/>
          <p:cNvCxnSpPr/>
          <p:nvPr/>
        </p:nvCxnSpPr>
        <p:spPr>
          <a:xfrm>
            <a:off x="1995491" y="2147888"/>
            <a:ext cx="0" cy="145732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 rot="16200000">
            <a:off x="1761002" y="2738051"/>
            <a:ext cx="7459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accent6"/>
                </a:solidFill>
              </a:rPr>
              <a:t>Attribute</a:t>
            </a:r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3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ight Arrow 13"/>
          <p:cNvSpPr/>
          <p:nvPr/>
        </p:nvSpPr>
        <p:spPr>
          <a:xfrm>
            <a:off x="2126588" y="5955268"/>
            <a:ext cx="4890826" cy="307777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26587" y="5955268"/>
            <a:ext cx="4890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Times Series Data &gt; Forecast Methodology&gt; Future Valu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forecasting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3807" y="2074745"/>
            <a:ext cx="2108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ctual Time Ser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501152" y="2283424"/>
            <a:ext cx="1527537" cy="3618174"/>
            <a:chOff x="3501152" y="3007086"/>
            <a:chExt cx="1527537" cy="1470197"/>
          </a:xfrm>
        </p:grpSpPr>
        <p:sp>
          <p:nvSpPr>
            <p:cNvPr id="16" name="Chevron 15"/>
            <p:cNvSpPr/>
            <p:nvPr/>
          </p:nvSpPr>
          <p:spPr>
            <a:xfrm>
              <a:off x="350115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Chevron 16"/>
            <p:cNvSpPr/>
            <p:nvPr/>
          </p:nvSpPr>
          <p:spPr>
            <a:xfrm>
              <a:off x="4258593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Chevron 17"/>
            <p:cNvSpPr/>
            <p:nvPr/>
          </p:nvSpPr>
          <p:spPr>
            <a:xfrm>
              <a:off x="3879872" y="3007086"/>
              <a:ext cx="770096" cy="1470197"/>
            </a:xfrm>
            <a:prstGeom prst="chevron">
              <a:avLst>
                <a:gd name="adj" fmla="val 62310"/>
              </a:avLst>
            </a:pr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2" descr="C:\Users\n0232877\AppData\Local\Microsoft\Windows\Temporary Internet Files\Content.IE5\FRTMVNL1\R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175" y="3394973"/>
            <a:ext cx="1363200" cy="103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451407" y="2134688"/>
            <a:ext cx="2822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Forecasted Values</a:t>
            </a:r>
          </a:p>
        </p:txBody>
      </p:sp>
      <p:pic>
        <p:nvPicPr>
          <p:cNvPr id="22533" name="Picture 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73"/>
          <a:stretch/>
        </p:blipFill>
        <p:spPr bwMode="auto">
          <a:xfrm>
            <a:off x="5983885" y="2428875"/>
            <a:ext cx="1757159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24" y="2402720"/>
            <a:ext cx="18669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0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130" y="4298156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1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0" y="4309348"/>
            <a:ext cx="2740668" cy="1645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71463" y="1243004"/>
            <a:ext cx="8415337" cy="7143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Forecasting is the process of applying mathematical tools on time series </a:t>
            </a:r>
            <a:r>
              <a:rPr lang="en-US" dirty="0" smtClean="0"/>
              <a:t>data </a:t>
            </a:r>
            <a:r>
              <a:rPr lang="en-US" dirty="0"/>
              <a:t>to create future time series </a:t>
            </a:r>
            <a:r>
              <a:rPr lang="en-US" dirty="0" smtClean="0"/>
              <a:t>values, doesn’t have to explain the reason for observed changes.</a:t>
            </a:r>
            <a:endParaRPr lang="en-US" dirty="0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fld id="{D753EFC8-4232-4598-94F6-94C0EBAFC469}" type="datetime1">
              <a:rPr lang="en-US" smtClean="0"/>
              <a:t>10/16/2019</a:t>
            </a:fld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857250" cy="365125"/>
          </a:xfrm>
        </p:spPr>
        <p:txBody>
          <a:bodyPr/>
          <a:lstStyle/>
          <a:p>
            <a:r>
              <a:rPr lang="en-US" dirty="0" smtClean="0"/>
              <a:t>6</a:t>
            </a:r>
            <a:endParaRPr lang="en-US" dirty="0"/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</p:spPr>
        <p:txBody>
          <a:bodyPr/>
          <a:lstStyle/>
          <a:p>
            <a:r>
              <a:rPr lang="en-US" dirty="0" smtClean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601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1BF93EB-721E-440E-B1E4-0F3176DDC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EABDFEA-2E8D-4355-A525-5076AD5FD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ain Vs. Predi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E70CA59-1C1D-4B4E-8CB0-3562A01BF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AFC84E1-D2CB-4F12-96DE-2B79FDACA3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7BED4843-F5A4-48C6-A2BC-D37A038D93CD}"/>
              </a:ext>
            </a:extLst>
          </p:cNvPr>
          <p:cNvSpPr txBox="1">
            <a:spLocks/>
          </p:cNvSpPr>
          <p:nvPr/>
        </p:nvSpPr>
        <p:spPr>
          <a:xfrm>
            <a:off x="685800" y="1347780"/>
            <a:ext cx="7772400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/>
              <a:t>Explanation</a:t>
            </a:r>
            <a:r>
              <a:rPr lang="en-US" dirty="0"/>
              <a:t> is the goal of “time series </a:t>
            </a:r>
            <a:r>
              <a:rPr lang="en-US" b="1" dirty="0"/>
              <a:t>analysis</a:t>
            </a:r>
            <a:r>
              <a:rPr lang="en-US" dirty="0"/>
              <a:t>”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based on causal argument</a:t>
            </a:r>
          </a:p>
          <a:p>
            <a:pPr lvl="1">
              <a:buFont typeface="Wingdings 2" pitchFamily="18" charset="2"/>
              <a:buNone/>
            </a:pPr>
            <a:r>
              <a:rPr lang="en-US" dirty="0"/>
              <a:t>Models are not “black-box</a:t>
            </a:r>
            <a:r>
              <a:rPr lang="en-US" dirty="0" smtClean="0"/>
              <a:t>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Example Explanations: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 “The housing crisis reduced the expected bank revenue over a 2yr period”</a:t>
            </a:r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Inclement weather negatively affected holiday shopping at Target.”</a:t>
            </a:r>
          </a:p>
          <a:p>
            <a:pPr lvl="1"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>
              <a:buFont typeface="Wingdings 2" pitchFamily="18" charset="2"/>
              <a:buNone/>
            </a:pPr>
            <a:r>
              <a:rPr lang="en-US" b="1" dirty="0"/>
              <a:t>Forecasting</a:t>
            </a:r>
            <a:r>
              <a:rPr lang="en-US" dirty="0"/>
              <a:t> (our focus) seeks to </a:t>
            </a:r>
            <a:r>
              <a:rPr lang="en-US" b="1" dirty="0"/>
              <a:t>predict</a:t>
            </a:r>
            <a:r>
              <a:rPr lang="en-US" dirty="0"/>
              <a:t> future </a:t>
            </a:r>
            <a:r>
              <a:rPr lang="en-US" dirty="0" smtClean="0"/>
              <a:t>values</a:t>
            </a:r>
          </a:p>
          <a:p>
            <a:pPr>
              <a:buFont typeface="Wingdings 2" pitchFamily="18" charset="2"/>
              <a:buNone/>
            </a:pP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Example </a:t>
            </a:r>
            <a:r>
              <a:rPr lang="en-US" dirty="0" smtClean="0"/>
              <a:t>outcomes: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/>
              <a:t> </a:t>
            </a:r>
            <a:r>
              <a:rPr lang="en-US" dirty="0" smtClean="0"/>
              <a:t>“Next quarter bank revenue is forecasted to rise to $</a:t>
            </a:r>
            <a:r>
              <a:rPr lang="en-US" b="1" u="sng" dirty="0" smtClean="0">
                <a:solidFill>
                  <a:schemeClr val="accent6"/>
                </a:solidFill>
              </a:rPr>
              <a:t>XYZ</a:t>
            </a:r>
            <a:r>
              <a:rPr lang="en-US" dirty="0" smtClean="0"/>
              <a:t>”</a:t>
            </a:r>
            <a:endParaRPr lang="en-US" dirty="0"/>
          </a:p>
          <a:p>
            <a:pPr lvl="1">
              <a:buFont typeface="Wingdings 2" pitchFamily="18" charset="2"/>
              <a:buNone/>
            </a:pPr>
            <a:r>
              <a:rPr lang="en-US" dirty="0" smtClean="0"/>
              <a:t>“Wal-Mart’s 3</a:t>
            </a:r>
            <a:r>
              <a:rPr lang="en-US" baseline="30000" dirty="0" smtClean="0"/>
              <a:t>rd</a:t>
            </a:r>
            <a:r>
              <a:rPr lang="en-US" dirty="0" smtClean="0"/>
              <a:t> quarter revenue will be $</a:t>
            </a:r>
            <a:r>
              <a:rPr lang="en-US" b="1" u="sng" dirty="0" smtClean="0">
                <a:solidFill>
                  <a:schemeClr val="accent6"/>
                </a:solidFill>
              </a:rPr>
              <a:t>130B</a:t>
            </a:r>
            <a:r>
              <a:rPr lang="en-US" dirty="0" smtClean="0"/>
              <a:t>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76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F2C3887-5370-461B-9723-FA8FB02B5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452733-36AC-40C0-A10C-890FD418D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inside the time series dat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04AF1B6-DEDE-4ECF-96D8-2BA98C5E8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E3C4817-070D-4782-935E-C73E380E1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4523FFBD-8391-4A87-80CE-BABAEAA54264}"/>
              </a:ext>
            </a:extLst>
          </p:cNvPr>
          <p:cNvSpPr txBox="1">
            <a:spLocks/>
          </p:cNvSpPr>
          <p:nvPr/>
        </p:nvSpPr>
        <p:spPr>
          <a:xfrm>
            <a:off x="628650" y="1526263"/>
            <a:ext cx="8129588" cy="4572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18" charset="2"/>
              <a:buNone/>
            </a:pPr>
            <a:r>
              <a:rPr lang="en-US" b="1" dirty="0" smtClean="0"/>
              <a:t>Level </a:t>
            </a:r>
            <a:r>
              <a:rPr lang="en-US" dirty="0" smtClean="0"/>
              <a:t>– an average of the observations “steady state”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Trend </a:t>
            </a:r>
            <a:r>
              <a:rPr lang="en-US" dirty="0" smtClean="0"/>
              <a:t>– are values increasing, decreasing or stationar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Seasonality </a:t>
            </a:r>
            <a:r>
              <a:rPr lang="en-US" dirty="0" smtClean="0"/>
              <a:t>– is there a repeating pattern in the periodicity</a:t>
            </a:r>
            <a:endParaRPr lang="en-US" dirty="0"/>
          </a:p>
          <a:p>
            <a:pPr>
              <a:buFont typeface="Wingdings 2" pitchFamily="18" charset="2"/>
              <a:buNone/>
            </a:pPr>
            <a:endParaRPr lang="en-US" b="1" dirty="0"/>
          </a:p>
          <a:p>
            <a:pPr>
              <a:buFont typeface="Wingdings 2" pitchFamily="18" charset="2"/>
              <a:buNone/>
            </a:pPr>
            <a:r>
              <a:rPr lang="en-US" b="1" dirty="0" smtClean="0"/>
              <a:t>Noise – </a:t>
            </a:r>
            <a:r>
              <a:rPr lang="en-US" dirty="0" smtClean="0"/>
              <a:t>unexplained values or “residuals” from adding “trend”, “seasonality” and “level” together.  Basically its what left, and unaccounted fo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79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446CF81-18DA-4882-8542-7FA528C68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0A58B-DD98-43D0-B791-721480A02982}" type="datetime1">
              <a:rPr lang="en-US" smtClean="0"/>
              <a:t>10/16/20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14E3173-1F1E-4CF3-A763-737C0F4A4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trak </a:t>
            </a:r>
            <a:r>
              <a:rPr lang="en-US" dirty="0" smtClean="0"/>
              <a:t>Actual Rider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84D43DA-DA54-4A2F-AFA1-93EE114DE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90FF7-652B-4475-AEAB-8B1A5D23AE09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31643D-3082-4F21-9828-946838B0D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Kwartler CSCI </a:t>
            </a:r>
            <a:r>
              <a:rPr lang="en-US" dirty="0" smtClean="0"/>
              <a:t>96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09878E9-7B9E-4E44-B365-5CC9BC94906B}"/>
              </a:ext>
            </a:extLst>
          </p:cNvPr>
          <p:cNvSpPr txBox="1"/>
          <p:nvPr/>
        </p:nvSpPr>
        <p:spPr>
          <a:xfrm>
            <a:off x="5472569" y="1828798"/>
            <a:ext cx="14702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 smtClean="0"/>
              <a:t>Level</a:t>
            </a:r>
            <a:r>
              <a:rPr lang="en-US" dirty="0"/>
              <a:t>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Trend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Seasonality?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dirty="0"/>
              <a:t>Noi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4D9F30B6-F781-4F9F-A682-E0BD1E45F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49" y="1396638"/>
            <a:ext cx="4955629" cy="4581619"/>
          </a:xfrm>
          <a:prstGeom prst="rect">
            <a:avLst/>
          </a:prstGeom>
        </p:spPr>
      </p:pic>
      <p:pic>
        <p:nvPicPr>
          <p:cNvPr id="14338" name="Picture 2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36" y="3090864"/>
            <a:ext cx="2848801" cy="249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429251" y="1428751"/>
            <a:ext cx="3171825" cy="414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What do we observ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65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arvar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51C30"/>
      </a:accent1>
      <a:accent2>
        <a:srgbClr val="8C8179"/>
      </a:accent2>
      <a:accent3>
        <a:srgbClr val="293352"/>
      </a:accent3>
      <a:accent4>
        <a:srgbClr val="8996A0"/>
      </a:accent4>
      <a:accent5>
        <a:srgbClr val="BAC5C6"/>
      </a:accent5>
      <a:accent6>
        <a:srgbClr val="4E84C4"/>
      </a:accent6>
      <a:hlink>
        <a:srgbClr val="52854C"/>
      </a:hlink>
      <a:folHlink>
        <a:srgbClr val="E87D1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758</TotalTime>
  <Words>2172</Words>
  <Application>Microsoft Office PowerPoint</Application>
  <PresentationFormat>On-screen Show (4:3)</PresentationFormat>
  <Paragraphs>533</Paragraphs>
  <Slides>4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5" baseType="lpstr">
      <vt:lpstr>Arial</vt:lpstr>
      <vt:lpstr>Calibri</vt:lpstr>
      <vt:lpstr>Calibri Light</vt:lpstr>
      <vt:lpstr>Cambria Math</vt:lpstr>
      <vt:lpstr>Consolas</vt:lpstr>
      <vt:lpstr>Wingdings 2</vt:lpstr>
      <vt:lpstr>Office Theme</vt:lpstr>
      <vt:lpstr>think-cell Slide</vt:lpstr>
      <vt:lpstr>Forecasting</vt:lpstr>
      <vt:lpstr>Agenda</vt:lpstr>
      <vt:lpstr>Main ideas</vt:lpstr>
      <vt:lpstr>Difference between ML Data Setup &amp; Time Series Data</vt:lpstr>
      <vt:lpstr>Difference between ML Data Setup &amp; Time Series Data</vt:lpstr>
      <vt:lpstr>What is forecasting?</vt:lpstr>
      <vt:lpstr>Explain Vs. Predict</vt:lpstr>
      <vt:lpstr>The data inside the time series data</vt:lpstr>
      <vt:lpstr>Amtrak Actual Riders</vt:lpstr>
      <vt:lpstr>Amtrak Actuals</vt:lpstr>
      <vt:lpstr>Amtrak Actuals</vt:lpstr>
      <vt:lpstr>Amtrak Actuals</vt:lpstr>
      <vt:lpstr>Zoom to 3 years (1997-1999)</vt:lpstr>
      <vt:lpstr>PowerPoint Presentation</vt:lpstr>
      <vt:lpstr>PowerPoint Presentation</vt:lpstr>
      <vt:lpstr>PowerPoint Presentation</vt:lpstr>
      <vt:lpstr>Open 0_amtrak.R</vt:lpstr>
      <vt:lpstr>Machine Learning Partitioning </vt:lpstr>
      <vt:lpstr>Time Series Partitioning is not random</vt:lpstr>
      <vt:lpstr>Summary </vt:lpstr>
      <vt:lpstr>What types of business problems can be forecasted?</vt:lpstr>
      <vt:lpstr>Open 1_getRevenueData.R</vt:lpstr>
      <vt:lpstr>Inspecting meta data.</vt:lpstr>
      <vt:lpstr>Agenda</vt:lpstr>
      <vt:lpstr>5 Common Methods</vt:lpstr>
      <vt:lpstr>4 Methods of Naïve Forecasting</vt:lpstr>
      <vt:lpstr>Naïve Forecast - Mean</vt:lpstr>
      <vt:lpstr>Naïve Forecast - Mean</vt:lpstr>
      <vt:lpstr>Naïve Forecast - Drift</vt:lpstr>
      <vt:lpstr>Naïve Forecast – Naïve (true)</vt:lpstr>
      <vt:lpstr>Naïve Forecast – Naïve Seasonal</vt:lpstr>
      <vt:lpstr>Shaded Forecast Area?</vt:lpstr>
      <vt:lpstr>Shaded Forecast Area?</vt:lpstr>
      <vt:lpstr>Open 2_NaiveNike.R</vt:lpstr>
      <vt:lpstr>Agenda</vt:lpstr>
      <vt:lpstr>Time Series Decomposition</vt:lpstr>
      <vt:lpstr>Time Series Decomposition</vt:lpstr>
      <vt:lpstr>Time Series Decomposition</vt:lpstr>
      <vt:lpstr>Time Series Decomposition</vt:lpstr>
      <vt:lpstr>Summary – Time Series Decomposition</vt:lpstr>
      <vt:lpstr>Open 3_TimeSeriesDecompositionAMZN.R</vt:lpstr>
      <vt:lpstr>Agenda</vt:lpstr>
      <vt:lpstr>But first averages…</vt:lpstr>
      <vt:lpstr>But first averages…</vt:lpstr>
      <vt:lpstr>But first averages…</vt:lpstr>
      <vt:lpstr>But first averages…</vt:lpstr>
      <vt:lpstr>Open 4_HoltWintersWMT.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Kwartler</dc:creator>
  <cp:lastModifiedBy>Edward Kwartler</cp:lastModifiedBy>
  <cp:revision>153</cp:revision>
  <dcterms:created xsi:type="dcterms:W3CDTF">2018-05-11T14:06:45Z</dcterms:created>
  <dcterms:modified xsi:type="dcterms:W3CDTF">2019-10-16T18:08:28Z</dcterms:modified>
</cp:coreProperties>
</file>